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3865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20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EE58BA-5C4C-4A5F-9200-25301C3DB3F7}" v="2" dt="2020-12-02T10:12:03.9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CFEB6-9682-4943-90C1-24AAD2B0B7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24584-2F44-43DF-8FFD-939C61F99E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36975C-0F4C-4943-A0EB-5A6B637D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91226D-B8C1-4277-95AA-EF48D9299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AF1ED7-AB37-4E13-A6E9-84467FA11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329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58F90D-1832-4AC0-969C-8A3FC9753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D3F0D9E-C263-4D70-8BEB-7D61905090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E164AB-6F3A-41EE-80CA-AE3C6059E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064202-3235-4063-A812-2AFDDF7EF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83F417-F6EB-408D-8F09-7D3A6BD92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4126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DDC53A3-04BA-413B-8B37-58748950C5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B483B6E-C8FA-485A-830E-BBF1BD3D27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663D2A-F5DD-4EEF-B6A0-2BC8841F23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153558-163B-4BB4-A24E-71210439E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541F77-6F84-417D-957D-A5E67FFE6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7587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A5688BA-4DA2-4BF5-9BBE-AF5695674E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828024"/>
              </p:ext>
            </p:extLst>
          </p:nvPr>
        </p:nvGraphicFramePr>
        <p:xfrm>
          <a:off x="1589" y="1589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A5688BA-4DA2-4BF5-9BBE-AF5695674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3EBBA36-BC53-4100-B176-AB1A0F43E1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73" b="0" i="0" baseline="0" err="1">
              <a:latin typeface="TeleGrotesk Next Ultra" pitchFamily="2" charset="0"/>
              <a:ea typeface="+mj-ea"/>
              <a:cs typeface="+mj-cs"/>
              <a:sym typeface="TeleGrotesk Next Ultra" pitchFamily="2" charset="0"/>
            </a:endParaRPr>
          </a:p>
        </p:txBody>
      </p:sp>
      <p:sp>
        <p:nvSpPr>
          <p:cNvPr id="6" name="Flussdiagramm: Manuelle Eingabe 5">
            <a:extLst>
              <a:ext uri="{FF2B5EF4-FFF2-40B4-BE49-F238E27FC236}">
                <a16:creationId xmlns:a16="http://schemas.microsoft.com/office/drawing/2014/main" id="{E01BA4D1-F272-4959-88B5-3A3088B81425}"/>
              </a:ext>
            </a:extLst>
          </p:cNvPr>
          <p:cNvSpPr/>
          <p:nvPr userDrawn="1"/>
        </p:nvSpPr>
        <p:spPr bwMode="gray">
          <a:xfrm rot="10800000">
            <a:off x="-1168" y="-7"/>
            <a:ext cx="12209044" cy="1417293"/>
          </a:xfrm>
          <a:prstGeom prst="flowChartManualInput">
            <a:avLst/>
          </a:prstGeom>
          <a:blipFill dpi="0" rotWithShape="1">
            <a:blip r:embed="rId8"/>
            <a:srcRect/>
            <a:stretch>
              <a:fillRect l="133" t="-87702" r="-99000" b="-1321"/>
            </a:stretch>
          </a:blip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0"/>
          </a:effectLst>
        </p:spPr>
        <p:txBody>
          <a:bodyPr lIns="76175" tIns="0" rIns="76175" bIns="38087" rtlCol="0" anchor="ctr"/>
          <a:lstStyle/>
          <a:p>
            <a:pPr marL="0" marR="0" lvl="0" indent="3358" algn="ctr" defTabSz="483764" rtl="0" eaLnBrk="1" fontAlgn="base" latinLnBrk="0" hangingPunct="1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  <a:buFontTx/>
              <a:buNone/>
              <a:tabLst/>
              <a:defRPr/>
            </a:pPr>
            <a:endParaRPr kumimoji="0" lang="de-DE" sz="1905" b="0" i="0" u="none" strike="noStrike" kern="0" cap="none" spc="0" normalizeH="0" baseline="0" noProof="0" err="1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 sz="4232">
                <a:solidFill>
                  <a:schemeClr val="bg1"/>
                </a:solidFill>
              </a:defRPr>
            </a:lvl1pPr>
          </a:lstStyle>
          <a:p>
            <a:r>
              <a:rPr lang="en-US" err="1"/>
              <a:t>TeleGrotesk</a:t>
            </a:r>
            <a:r>
              <a:rPr lang="en-US"/>
              <a:t> Headline Ultra 28 (32)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F5C734A-6DB8-4A84-9E8D-42FA2F5DAF14}" type="datetime1">
              <a:rPr lang="de-DE" noProof="0" smtClean="0"/>
              <a:t>04.12.2020</a:t>
            </a:fld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Willkommen bei der T-Systems onsite</a:t>
            </a:r>
            <a:endParaRPr lang="en-US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38B9B04-5EA8-47AD-B115-08EE4F6C34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80" y="6307041"/>
            <a:ext cx="3373620" cy="38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0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9E31E2-E2E8-4C2C-A950-5A2140E5D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134D7C-620F-461E-83A7-D1A6450724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F5150CA-DF3C-4B27-8D9D-147E60361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EE7B6D-32C7-49A1-8325-B2C0F7003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86A0748-148C-4997-BD96-45589EB60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9490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441092-385C-418C-AAC8-A6FA2EB2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5FBC69-DAAD-4AC8-AD57-C8CF2E233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04D3A2-DBED-43AB-B0F2-0C74EC6CF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06D8BD-372A-485F-81B8-69AFC104B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4CECAD-FA21-4DCD-A441-9A1109DCA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74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B5CF83-D344-40E2-966A-CEA8C88FF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E6123F-A1A5-4631-9CF2-F08408BFF4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81EBB32-BECC-43DC-9702-7445FE5654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DBC53F5-2CD4-4459-AFAB-C83449B1D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255649-2381-4E5B-80F7-BADABFA96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076785-0758-4BA8-BEF4-82A9FC24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064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2CBC16-3F53-4E96-B21A-E59B99E61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203F9B-4B9B-4365-9F5B-4A4C0CECB3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412109F-3CD7-4384-8413-7EFD536096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3821F1C-33F4-47CD-89A9-03AB424DA5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734D80E-5C73-4FE0-9999-4BED4A2957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21870FC-CE9B-4946-8890-9D10A3593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6ADC330-192C-4A2D-822E-36135F67E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DEE9C6F-158A-4198-BDE6-1D7223A2F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243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7611EF-70AA-48B2-9906-D8A021FBD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2246639-F54D-4D7A-9206-ACA9996374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B427DF6-4789-47AF-8234-C9356A657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2B3B98-2DCB-4EFE-98B7-417501A0A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9262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80D27C-0D5C-4754-A777-5A03FE6D7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5FF390-77E2-4DFA-810A-539E94FD0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67074C-B0CE-4093-9B96-5AD52CD5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282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C3509A-B567-45D6-BC2A-3D6BEF395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145041-B10A-412A-8FB8-7D4AF1ED9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ED55CE-C202-4FCB-98C6-D92F8D5068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F593799-1F65-4635-B73C-F2E52B4FA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B32476E-C433-41B7-A624-26D584175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6675BBE-1C91-483C-A53C-5669EA3BF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8611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D31278-2F6E-49F6-BF56-697947535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FBE379F-36FF-42CE-AD95-74B512BA11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F5D38C-34CF-4EDE-A85E-5EA480BC3C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A83062-1EA0-4DCB-BAE2-55034664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2A130DB-2590-4CED-959C-D93311CB5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A3F3BB-1C1E-44EB-B90B-1752CDED4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3663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D224223-FEDD-4577-B584-818114114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89A3F8-812D-49C3-BD79-20AF5D0DB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1AB672-068D-49C5-A5CE-F4568397E1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A54F60-1F53-4940-B629-48C47B87E964}" type="datetimeFigureOut">
              <a:rPr lang="de-DE" smtClean="0"/>
              <a:t>04.12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CF3D70-B473-4346-A3ED-84353F93E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111C2D1-3715-4E4B-AA80-5B3F753A44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396A6-9A93-42FE-A428-A4F084918D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502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>
            <a:extLst>
              <a:ext uri="{FF2B5EF4-FFF2-40B4-BE49-F238E27FC236}">
                <a16:creationId xmlns:a16="http://schemas.microsoft.com/office/drawing/2014/main" id="{1246B919-9C32-4444-83AD-4D3A883F8562}"/>
              </a:ext>
            </a:extLst>
          </p:cNvPr>
          <p:cNvSpPr/>
          <p:nvPr/>
        </p:nvSpPr>
        <p:spPr>
          <a:xfrm>
            <a:off x="4742137" y="1418213"/>
            <a:ext cx="7705401" cy="5439787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49000">
                <a:schemeClr val="bg2">
                  <a:alpha val="0"/>
                  <a:lumMod val="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264" tIns="76176" rIns="114264" bIns="76176" rtlCol="0" anchor="ctr"/>
          <a:lstStyle/>
          <a:p>
            <a:pPr algn="ctr"/>
            <a:endParaRPr lang="de-DE" sz="1905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F193E0-3C14-4CAD-90BF-F1DAFC617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36" y="381097"/>
            <a:ext cx="11504128" cy="533386"/>
          </a:xfrm>
        </p:spPr>
        <p:txBody>
          <a:bodyPr>
            <a:normAutofit fontScale="90000"/>
          </a:bodyPr>
          <a:lstStyle/>
          <a:p>
            <a:r>
              <a:rPr lang="de-DE" dirty="0"/>
              <a:t>Gewinnspiel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D2A83A9-7E7F-46BB-8332-D9E5B1712394}"/>
              </a:ext>
            </a:extLst>
          </p:cNvPr>
          <p:cNvSpPr txBox="1"/>
          <p:nvPr/>
        </p:nvSpPr>
        <p:spPr>
          <a:xfrm>
            <a:off x="231233" y="1551724"/>
            <a:ext cx="7705401" cy="8857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17"/>
              </a:spcBef>
            </a:pPr>
            <a:r>
              <a:rPr lang="de-DE" sz="2400" dirty="0">
                <a:solidFill>
                  <a:schemeClr val="bg1"/>
                </a:solidFill>
              </a:rPr>
              <a:t>Lade ein Foto auf Instagram oder Twitter hoch und </a:t>
            </a:r>
            <a:br>
              <a:rPr lang="de-DE" sz="2400" dirty="0">
                <a:solidFill>
                  <a:schemeClr val="bg1"/>
                </a:solidFill>
              </a:rPr>
            </a:br>
            <a:r>
              <a:rPr lang="de-DE" sz="2400" dirty="0">
                <a:solidFill>
                  <a:schemeClr val="bg1"/>
                </a:solidFill>
              </a:rPr>
              <a:t>markiert </a:t>
            </a:r>
            <a:r>
              <a:rPr lang="de-DE" sz="2400" b="1" dirty="0">
                <a:solidFill>
                  <a:schemeClr val="bg1"/>
                </a:solidFill>
              </a:rPr>
              <a:t>@codedesigntelekom</a:t>
            </a:r>
            <a:r>
              <a:rPr lang="de-DE" sz="2400" dirty="0">
                <a:solidFill>
                  <a:schemeClr val="bg1"/>
                </a:solidFill>
              </a:rPr>
              <a:t> &amp; </a:t>
            </a:r>
            <a:r>
              <a:rPr lang="de-DE" sz="2400" b="1" dirty="0">
                <a:solidFill>
                  <a:schemeClr val="bg1"/>
                </a:solidFill>
              </a:rPr>
              <a:t>@wir_sind_die_onsite</a:t>
            </a:r>
            <a:r>
              <a:rPr lang="de-DE" sz="2400" dirty="0">
                <a:solidFill>
                  <a:schemeClr val="bg1"/>
                </a:solidFill>
              </a:rPr>
              <a:t>!</a:t>
            </a:r>
          </a:p>
          <a:p>
            <a:pPr marL="302352" indent="-302352">
              <a:spcBef>
                <a:spcPts val="317"/>
              </a:spcBef>
              <a:buFont typeface="Arial" panose="020B0604020202020204" pitchFamily="34" charset="0"/>
              <a:buChar char="•"/>
            </a:pPr>
            <a:endParaRPr lang="de-DE" sz="2400" dirty="0" err="1">
              <a:solidFill>
                <a:schemeClr val="bg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582061C-72DB-4DE2-8BD3-3DC78C84B6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07" b="4849"/>
          <a:stretch/>
        </p:blipFill>
        <p:spPr>
          <a:xfrm>
            <a:off x="9608846" y="2332618"/>
            <a:ext cx="2295121" cy="4349523"/>
          </a:xfrm>
          <a:prstGeom prst="rect">
            <a:avLst/>
          </a:prstGeom>
          <a:ln w="38100">
            <a:solidFill>
              <a:srgbClr val="C32065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FF9391A3-3505-424F-AE55-9BE42F7E78CE}"/>
              </a:ext>
            </a:extLst>
          </p:cNvPr>
          <p:cNvSpPr/>
          <p:nvPr/>
        </p:nvSpPr>
        <p:spPr>
          <a:xfrm>
            <a:off x="-14748" y="2212255"/>
            <a:ext cx="6972580" cy="4188544"/>
          </a:xfrm>
          <a:prstGeom prst="rect">
            <a:avLst/>
          </a:prstGeom>
          <a:solidFill>
            <a:srgbClr val="C32065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4733BCC-A952-40A0-B92E-369BD2C5CB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33" y="2523342"/>
            <a:ext cx="6363478" cy="353177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E087C45-0856-4F1D-93CB-BA19B8F4EA1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8" b="6725"/>
          <a:stretch/>
        </p:blipFill>
        <p:spPr>
          <a:xfrm>
            <a:off x="7136718" y="2332618"/>
            <a:ext cx="2244433" cy="4349524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rgbClr val="C32065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209071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CIeCORzyYfCoUcNcPTz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0450A8E42E0784C942543964FC896D2" ma:contentTypeVersion="12" ma:contentTypeDescription="Ein neues Dokument erstellen." ma:contentTypeScope="" ma:versionID="4ff310766af552900e9995ea116e5ba5">
  <xsd:schema xmlns:xsd="http://www.w3.org/2001/XMLSchema" xmlns:xs="http://www.w3.org/2001/XMLSchema" xmlns:p="http://schemas.microsoft.com/office/2006/metadata/properties" xmlns:ns2="9b3e37a5-133d-4b02-8cfa-06e53e30ddc5" xmlns:ns3="966c277d-c3bd-4082-af73-82823d47d64f" targetNamespace="http://schemas.microsoft.com/office/2006/metadata/properties" ma:root="true" ma:fieldsID="751319ff661b345339f927c603b9c570" ns2:_="" ns3:_="">
    <xsd:import namespace="9b3e37a5-133d-4b02-8cfa-06e53e30ddc5"/>
    <xsd:import namespace="966c277d-c3bd-4082-af73-82823d47d6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3e37a5-133d-4b02-8cfa-06e53e30dd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6c277d-c3bd-4082-af73-82823d47d64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EA170D-A1F3-4D42-B2ED-242F1665EA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A48829D-98C0-4372-8E52-C69D36FB2E35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966c277d-c3bd-4082-af73-82823d47d64f"/>
    <ds:schemaRef ds:uri="9b3e37a5-133d-4b02-8cfa-06e53e30ddc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958E985-7F23-4140-8016-2D97B3BF1B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3e37a5-133d-4b02-8cfa-06e53e30ddc5"/>
    <ds:schemaRef ds:uri="966c277d-c3bd-4082-af73-82823d47d6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</Words>
  <Application>Microsoft Office PowerPoint</Application>
  <PresentationFormat>Breitbild</PresentationFormat>
  <Paragraphs>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eleGrotesk Next Ultra</vt:lpstr>
      <vt:lpstr>Tele-GroteskNor</vt:lpstr>
      <vt:lpstr>Office</vt:lpstr>
      <vt:lpstr>think-cell Folie</vt:lpstr>
      <vt:lpstr>Gewinnspi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-Racer – Die Video Challenge</dc:title>
  <dc:creator>Kummerfeldt, Tim</dc:creator>
  <cp:lastModifiedBy>Lütkemeyer, Isabel (ext)</cp:lastModifiedBy>
  <cp:revision>2</cp:revision>
  <dcterms:created xsi:type="dcterms:W3CDTF">2020-11-25T20:54:32Z</dcterms:created>
  <dcterms:modified xsi:type="dcterms:W3CDTF">2020-12-04T08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450A8E42E0784C942543964FC896D2</vt:lpwstr>
  </property>
</Properties>
</file>